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98" r:id="rId5"/>
    <p:sldMasterId id="2147483708" r:id="rId6"/>
    <p:sldMasterId id="2147483718" r:id="rId7"/>
  </p:sldMasterIdLst>
  <p:notesMasterIdLst>
    <p:notesMasterId r:id="rId28"/>
  </p:notesMasterIdLst>
  <p:handoutMasterIdLst>
    <p:handoutMasterId r:id="rId29"/>
  </p:handoutMasterIdLst>
  <p:sldIdLst>
    <p:sldId id="504" r:id="rId8"/>
    <p:sldId id="1377" r:id="rId9"/>
    <p:sldId id="520" r:id="rId10"/>
    <p:sldId id="2147478498" r:id="rId11"/>
    <p:sldId id="1379" r:id="rId12"/>
    <p:sldId id="2147478505" r:id="rId13"/>
    <p:sldId id="1382" r:id="rId14"/>
    <p:sldId id="515" r:id="rId15"/>
    <p:sldId id="2147478506" r:id="rId16"/>
    <p:sldId id="1404" r:id="rId17"/>
    <p:sldId id="1383" r:id="rId18"/>
    <p:sldId id="1384" r:id="rId19"/>
    <p:sldId id="1385" r:id="rId20"/>
    <p:sldId id="1386" r:id="rId21"/>
    <p:sldId id="1389" r:id="rId22"/>
    <p:sldId id="527" r:id="rId23"/>
    <p:sldId id="1381" r:id="rId24"/>
    <p:sldId id="1380" r:id="rId25"/>
    <p:sldId id="538" r:id="rId26"/>
    <p:sldId id="501" r:id="rId27"/>
  </p:sldIdLst>
  <p:sldSz cx="12192000" cy="6858000"/>
  <p:notesSz cx="6858000" cy="9144000"/>
  <p:embeddedFontLst>
    <p:embeddedFont>
      <p:font typeface="Public Sans" panose="020B0604020202020204" charset="0"/>
      <p:regular r:id="rId30"/>
      <p:bold r:id="rId31"/>
      <p:italic r:id="rId32"/>
      <p:boldItalic r:id="rId33"/>
    </p:embeddedFont>
  </p:embeddedFontLst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6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0E7E56-03B5-1D07-6ED1-06FED56D87B7}" name="Lundell Emma" initials="LE" userId="S::179979@skane.se::5ae54fd0-a567-4245-b50e-284bb676338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F4700D-8CFC-4E22-BA06-E33BA25B06BD}" v="91" dt="2025-04-23T07:35:49.2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anmörkt format 2 - Dekorfär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llanmörkt format 1 - Dekorfär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822"/>
        <p:guide pos="6992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microsoft.com/office/2015/10/relationships/revisionInfo" Target="revisionInfo.xml"/><Relationship Id="rId21" Type="http://schemas.openxmlformats.org/officeDocument/2006/relationships/slide" Target="slides/slide14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font" Target="fonts/font4.fntdata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font" Target="fonts/font3.fntdata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36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font" Target="fonts/font1.fntdata"/><Relationship Id="rId35" Type="http://schemas.openxmlformats.org/officeDocument/2006/relationships/presProps" Target="pres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4D511D94-4E64-1EAA-0D43-EAEE53FDC9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5195A2E-B3CC-C0AE-5A1F-1A1E7AB3A8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340DC-1509-4221-AED0-908333A2814C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921803D-7FAC-F3DE-8A61-40FCB00C45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1384B36-BE09-A54C-B7BD-BFFF79D0F8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EA6F1E-1E10-4A31-B5A8-8E4E14FF7C9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773850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25CAF2-EA02-4D7B-96AC-EC2C828EEDBF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B30ED-5BE4-4B01-A895-9FD01F2DFD3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2673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B692D6-DE50-1011-BA86-098B74E4A0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F273EF4B-DD8E-BFBB-A25D-F414BBC30F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AE722A93-A1D0-54B8-46BE-02537EEF87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000DF85C-F34F-07CA-5561-B91AC95B82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5CEFF-F533-42E9-9498-DAA76BE98AB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762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5CEFF-F533-42E9-9498-DAA76BE98AB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03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5CEFF-F533-42E9-9498-DAA76BE98AB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825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B30ED-5BE4-4B01-A895-9FD01F2DFD3F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5501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A5194270-83B6-A55F-D3FF-A126547510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244F8B15-58B1-2E90-1802-6F4E92C08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475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12B957DE-64F3-C89A-39F1-D0291AD127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E60FA1F-B6CA-4B46-9597-56F4530F7420}" type="datetime1">
              <a:rPr lang="sv-SE" smtClean="0"/>
              <a:t>2025-04-28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D0CD91E-220E-4904-A1F0-F78096E9A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AE31B5-5254-4A74-6724-44C627CB9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6839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DA706DCF-9171-8087-EC6A-D9FACA0C1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AD0E7A6-AE29-4828-8EED-037A6B9009EA}" type="datetime1">
              <a:rPr lang="sv-SE" smtClean="0"/>
              <a:t>2025-04-28</a:t>
            </a:fld>
            <a:endParaRPr lang="sv-SE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A71FC9C-1584-8A2F-C4EF-0B37FFE0F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C2C239C-E658-7070-C0BC-E778536E9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0535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bild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 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F06F227-57FA-49A3-97BD-1B27E993ACB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2186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C45A6C9D-C2F9-BEA7-4EAE-7948F072B5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D69891F-7F43-4EBC-87CA-86C37D690BD4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9E2DCE60-FD3E-95E2-4A9B-287FAAE29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1E68585F-58CF-FC4B-FD92-86898C95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69637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00068579-9080-EE29-D9A4-3E56BF8550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FE586BAB-9EEF-4B06-B77F-822919DD1E7D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CE7776F5-8B54-2D91-99C9-B11E98F95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723668E9-8B04-52B3-F7CA-27B4B4D49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051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v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/>
          <a:lstStyle/>
          <a:p>
            <a:fld id="{3001A785-8427-4ACF-8D68-053FEA8D152B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717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C713A04-296D-4A5E-4FD1-2789A0A7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1FCD157-0A2C-4AAC-962C-4319DA53B03C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8395FDC-DEF1-0B01-E4BC-720A0E396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CD5DDAFD-3E9D-0E37-16AE-9E369BFC5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4885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778A0B9-2D69-0ABE-7F68-813023F53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8171146-AEE4-4C35-B459-B938E6802B17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553A5AA-2251-BCEF-BA4A-5055B3BFD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F48269D-D5CC-FFEA-8A05-8CB6B03F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528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 yta utan logotyp neutr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00ECA7-AE51-F08E-9F74-11BB66F2A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5C43E44-399B-AD66-852B-6FBB2BFD8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5AEBDB0-46AE-40AB-B6F1-75EEA8B6B06E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0723245D-44EA-5763-8400-5C566DC9C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AD75F367-E644-E422-4C41-32675F04A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3132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24521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" y="1241051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600" y="2221492"/>
            <a:ext cx="5157787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82650" y="1241051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underrubrik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99212" y="2221492"/>
            <a:ext cx="5183188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5CC8557A-39E5-2439-2E43-5C8D95645E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AA5BADEF-8F84-45D8-AB78-79E0427D4A12}" type="datetime1">
              <a:rPr lang="sv-SE" smtClean="0"/>
              <a:t>2025-04-28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876B45AE-5CCD-6B94-7A25-A15B3FF33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15478B75-428F-A1D7-E746-ADC775277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91789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AFE24852-164B-CFDE-B769-790BC3263B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4D73F0A0-3A2F-4832-BE53-6B8B6864E3E5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CC1B95F-8FF6-795C-71C7-EF6DB9AB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D013B1D-5E77-D5A6-6127-FB27ABDC7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268180F-B84D-0F44-B4B5-93A7D7845B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09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accent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accent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0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6BE9932-6652-2F68-1034-24E5E465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56C4D66-1807-4776-9F16-AA3C32A246C1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163ED8F1-3338-F67C-7AF6-F651A8C4D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A0CF44F-A949-73AD-6632-4E606E57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720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grädde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17758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</a:t>
            </a:r>
            <a:br>
              <a:rPr lang="sv-SE"/>
            </a:b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3E7D6E2E-8A4F-D98F-225B-724A74A0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38A8468-28CB-4E66-9D43-5E9BC9263E51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4339C906-0FFF-0D74-2AA4-386DD03BE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0559915-C442-FFF4-7F3F-17BD4998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9191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25320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BAF8B48-190A-CD33-0203-CB9E94B0B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2832F019-68C5-4A37-B2E1-1C87E0510245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21C96D5D-12A1-49BC-3215-73D03C7CA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292DD92-F84D-6372-5A07-8F06DBCC0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19901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blå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endParaRPr lang="sv-SE"/>
          </a:p>
          <a:p>
            <a:endParaRPr lang="sv-SE"/>
          </a:p>
          <a:p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711843"/>
            <a:ext cx="3932237" cy="4523858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78BE36-5D03-B947-50CF-2E825EAAB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9B2D01C-7309-43AD-BB51-C03D02FBFE6F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09C34CAE-7C61-6971-4E6A-D3B61E057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9808DA3-999C-3634-67E5-C32D4F1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855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1088"/>
          </a:xfrm>
        </p:spPr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5288"/>
            <a:ext cx="3932237" cy="4570413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EC997379-AA57-FFC0-C67C-2D47D22C2E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411" y="6530791"/>
            <a:ext cx="995364" cy="273555"/>
          </a:xfrm>
          <a:prstGeom prst="rect">
            <a:avLst/>
          </a:prstGeom>
        </p:spPr>
        <p:txBody>
          <a:bodyPr/>
          <a:lstStyle/>
          <a:p>
            <a:fld id="{3EE0776E-56C1-4163-BBDC-05D27C5158B9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0EE9DDD-8D27-BD71-D6BB-11AB844D7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42441" y="6513520"/>
            <a:ext cx="8794963" cy="300235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03F8E2E3-7B29-03BC-3B15-8990B1284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7768" y="6513520"/>
            <a:ext cx="637660" cy="300235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7872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Klicka på ikonen för att </a:t>
            </a:r>
            <a:br>
              <a:rPr lang="sv-SE"/>
            </a:br>
            <a:r>
              <a:rPr lang="sv-SE"/>
              <a:t>infoga en bild, som fyller ut </a:t>
            </a:r>
            <a:br>
              <a:rPr lang="sv-SE"/>
            </a:br>
            <a:r>
              <a:rPr lang="sv-SE"/>
              <a:t>platshållaren med rundat hörn.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9313"/>
            <a:ext cx="3932237" cy="4587654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37D1B6-089F-FE4A-553A-91F3A004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BB410BE-CF1F-4E5F-9DCA-D51FBE5FB1D3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2C55B8E2-0B30-8F03-4864-C893D054A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3F34B608-4D46-FA27-659B-1A66156B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249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bild_med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3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utbild_med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0116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utbild_med bi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2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340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utbild_med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1"/>
                </a:solidFill>
              </a:defRPr>
            </a:lvl1pPr>
          </a:lstStyle>
          <a:p>
            <a:r>
              <a:rPr lang="sv-SE"/>
              <a:t>TACK!</a:t>
            </a:r>
            <a:endParaRPr lang="en-US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078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neutr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7504EE9F-131D-EFB7-2A79-B3DD8BF9A1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952" y="6486545"/>
            <a:ext cx="1060175" cy="354182"/>
          </a:xfrm>
          <a:prstGeom prst="rect">
            <a:avLst/>
          </a:prstGeom>
        </p:spPr>
        <p:txBody>
          <a:bodyPr/>
          <a:lstStyle/>
          <a:p>
            <a:fld id="{38300729-9120-4936-A615-CF043BDAE2EC}" type="datetime1">
              <a:rPr lang="sv-SE" smtClean="0"/>
              <a:t>2025-04-28</a:t>
            </a:fld>
            <a:endParaRPr lang="sv-SE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53945A83-9CF5-D3E1-4AC0-51BF060AD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127" y="6469274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7E25ADB-6596-015B-3496-5779FCC53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6469274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95E7C8D-E10A-96EA-A696-E14A4D299E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underrubrik</a:t>
            </a:r>
            <a:endParaRPr lang="en-US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C8E3E256-BBF3-D765-FDC4-A130C5C5C9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46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98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4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493536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393717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904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5406356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35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419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34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90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50" y="2630813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50" y="2630813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15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 baseline="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30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56F01782-C5A9-40B6-AB6E-8DE9881C3C7C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4722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90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11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8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11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8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1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1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937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397596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4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7981708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397596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2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130310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397596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1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1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6926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397596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3090851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1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1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9088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90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50" y="2630813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562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90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11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8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1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1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664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700811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404592"/>
            <a:ext cx="8534400" cy="1752600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0461F43-B2CB-4520-900E-F3955BA56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19AC333-F4E3-40BB-A65E-53AF712E7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25F725-9A08-4697-93A3-92578D977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73332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 Invertera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700811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3404592"/>
            <a:ext cx="8534400" cy="1752600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0461F43-B2CB-4520-900E-F3955BA56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19AC333-F4E3-40BB-A65E-53AF712E7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25F725-9A08-4697-93A3-92578D977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841A27E-EBFD-43BF-902B-FBFCD18690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80" y="584834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940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30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40BFD82-33C4-3884-7512-07CF043CC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CA4B8-A0BB-4502-821F-7B06CCF7898B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4827E4A-6513-E2F8-83CE-0D930C8FB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2688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 anchor="t" anchorCtr="0"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lnSpc>
                <a:spcPct val="110000"/>
              </a:lnSpc>
              <a:spcBef>
                <a:spcPts val="800"/>
              </a:spcBef>
              <a:defRPr/>
            </a:lvl2pPr>
            <a:lvl3pPr>
              <a:lnSpc>
                <a:spcPct val="110000"/>
              </a:lnSpc>
              <a:spcBef>
                <a:spcPts val="800"/>
              </a:spcBef>
              <a:defRPr/>
            </a:lvl3pPr>
            <a:lvl4pPr>
              <a:lnSpc>
                <a:spcPct val="110000"/>
              </a:lnSpc>
              <a:spcBef>
                <a:spcPts val="800"/>
              </a:spcBef>
              <a:defRPr/>
            </a:lvl4pPr>
            <a:lvl5pPr>
              <a:lnSpc>
                <a:spcPct val="110000"/>
              </a:lnSpc>
              <a:spcBef>
                <a:spcPts val="800"/>
              </a:spcBef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22858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Hav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92264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 anchor="t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8596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40696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00202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lnSpc>
                <a:spcPct val="110000"/>
              </a:lnSpc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B1C50E5-8128-40E2-AE11-9CDB6525B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4099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549400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157787" cy="3684588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/>
            </a:lvl1pPr>
            <a:lvl2pPr>
              <a:lnSpc>
                <a:spcPct val="110000"/>
              </a:lnSpc>
              <a:spcBef>
                <a:spcPts val="1000"/>
              </a:spcBef>
              <a:defRPr sz="2400"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82651" y="154940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99213" y="2505074"/>
            <a:ext cx="5183188" cy="3684588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/>
            </a:lvl1pPr>
            <a:lvl2pPr>
              <a:lnSpc>
                <a:spcPct val="110000"/>
              </a:lnSpc>
              <a:spcBef>
                <a:spcPts val="1000"/>
              </a:spcBef>
              <a:defRPr sz="2400"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C1B20FEC-AC6C-4185-9558-FF62052651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C32B6478-60E6-4DB5-8AD9-C74836F556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0966DAE3-5F86-48E0-A3B9-18884EA4F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263678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/>
            </a:lvl1pPr>
          </a:lstStyle>
          <a:p>
            <a:r>
              <a:rPr lang="sv-SE"/>
              <a:t>Klicka på bildikonen och infoga bild, den fyller ut platshållaren med rundat hörn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52497BE-5C99-4235-BD47-33F28688C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540FD78-70B7-424E-A375-6D9ACFF7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14F48D-2FBD-4D25-8D1C-1F2C62904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523617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52497BE-5C99-4235-BD47-33F28688C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540FD78-70B7-424E-A375-6D9ACFF7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14F48D-2FBD-4D25-8D1C-1F2C62904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1" y="2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>
              <a:lnSpc>
                <a:spcPct val="140000"/>
              </a:lnSpc>
              <a:buFontTx/>
              <a:buNone/>
              <a:defRPr sz="2000"/>
            </a:lvl1pPr>
          </a:lstStyle>
          <a:p>
            <a:r>
              <a:rPr lang="sv-SE"/>
              <a:t>Klicka på bildikonen och infoga bild, den fyller ut platshållaren med rundat hör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1937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E52497BE-5C99-4235-BD47-33F28688C6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540FD78-70B7-424E-A375-6D9ACFF7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14F48D-2FBD-4D25-8D1C-1F2C62904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889850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35652440-C592-4A93-8685-C39895AE5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DFD48E40-3050-4C22-9774-9FCE32204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F3786E9-BBDD-431B-94DD-E3718E997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59041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43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30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86F81BD-23A4-14C0-EED6-2E59201897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92A9DB68-DDFE-43CD-983D-4BE2E622E370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2194FC6-79A2-A4A8-930C-D8014F0C3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D89DBB4E-248F-B506-05F9-B9F152226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4455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5" y="360000"/>
            <a:ext cx="6947669" cy="617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>
              <a:lnSpc>
                <a:spcPct val="180000"/>
              </a:lnSpc>
              <a:buFontTx/>
              <a:buNone/>
              <a:defRPr sz="2000"/>
            </a:lvl1pPr>
          </a:lstStyle>
          <a:p>
            <a:r>
              <a:rPr lang="sv-SE"/>
              <a:t>Klicka på ikonen för att lägga till en bild, den fyller </a:t>
            </a:r>
            <a:br>
              <a:rPr lang="sv-SE"/>
            </a:br>
            <a:r>
              <a:rPr lang="sv-SE"/>
              <a:t>ut platshållaren med rundat hörn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3932237" cy="1600200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1972921"/>
            <a:ext cx="3932237" cy="426278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5887BAF-EE00-4485-8F3B-9963DB69C3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C88BDE05-485E-4AB9-B501-0D51D70E5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98D94035-9302-4429-B749-DC9613F50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094713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Halv färg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0"/>
            <a:ext cx="5983357" cy="6946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60000"/>
            <a:ext cx="5111751" cy="1143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defRPr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00202"/>
            <a:ext cx="5181600" cy="452596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/>
            </a:lvl1pPr>
            <a:lvl2pPr>
              <a:lnSpc>
                <a:spcPct val="110000"/>
              </a:lnSpc>
              <a:spcBef>
                <a:spcPts val="1000"/>
              </a:spcBef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B1C50E5-8128-40E2-AE11-9CDB6525B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2147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358EF10-607E-443F-9A2B-8E0CCA88D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3932237" cy="1600200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1D38C20-00FE-457A-BE28-DF515DC716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4894" y="360002"/>
            <a:ext cx="5997151" cy="518627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3200"/>
            </a:lvl1pPr>
            <a:lvl2pPr>
              <a:lnSpc>
                <a:spcPct val="110000"/>
              </a:lnSpc>
              <a:spcBef>
                <a:spcPts val="1000"/>
              </a:spcBef>
              <a:defRPr sz="2800"/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 sz="2000"/>
            </a:lvl4pPr>
            <a:lvl5pPr>
              <a:lnSpc>
                <a:spcPct val="110000"/>
              </a:lnSpc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9411AA42-BF89-4282-B410-A24FF3FD62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0" y="1972920"/>
            <a:ext cx="3932237" cy="3573352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E92E6BC3-D697-4291-AD7F-D9344F72E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1CE3CC86-22E2-427D-ABE9-662DB6754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E2A25E17-3393-4F80-B950-DA398AE31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10197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AF462B-7C8A-4EC2-9A86-754718BC7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A21A1C40-F691-4CC5-83A6-5B0A1689B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187DD35-D714-4303-964A-38DDA8D02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E4A3F55-60A9-43F9-B11A-500A9EBBC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FB3C420-137E-419B-A4B1-6D7DDA032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95543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1819ED1B-8FA7-4CA8-8308-66D786E373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BDD152F3-FF17-474D-A5EA-0456353B6C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71A49F8-BA16-414D-8C48-95EA85431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7DC6E67-21EC-4BD6-A546-4175E072B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2F75D8-00D5-4A7F-84FF-AE4D46287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55969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78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och innehåll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43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30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86F81BD-23A4-14C0-EED6-2E59201897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92A9DB68-DDFE-43CD-983D-4BE2E622E370}" type="datetime1">
              <a:rPr lang="sv-SE" smtClean="0"/>
              <a:t>2025-04-28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2194FC6-79A2-A4A8-930C-D8014F0C3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D89DBB4E-248F-B506-05F9-B9F152226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8722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vå delar två färg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5181600" cy="1143000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tx2"/>
                </a:solidFill>
              </a:defRPr>
            </a:lvl2pPr>
            <a:lvl3pPr marL="86400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	      </a:t>
            </a:r>
          </a:p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   </a:t>
            </a:r>
            <a:br>
              <a:rPr lang="sv-SE"/>
            </a:br>
            <a:r>
              <a:rPr lang="sv-SE"/>
              <a:t>         Välj ikon och infoga </a:t>
            </a:r>
            <a:endParaRPr lang="en-US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4E0B0FE2-E5A1-BE14-1AD7-F11C3D70D2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0FE638B-B983-49DA-8849-8ECEE52DAC0E}" type="datetime1">
              <a:rPr lang="sv-SE" smtClean="0"/>
              <a:t>2025-04-28</a:t>
            </a:fld>
            <a:endParaRPr lang="sv-SE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F8DA2FBF-EA5B-22FE-04EC-31E4FD70F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303A1DB8-A381-F782-B96A-BEBB198BF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2310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vå delar två färg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360000"/>
            <a:ext cx="5181599" cy="114300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bg2"/>
                </a:solidFill>
              </a:defRPr>
            </a:lvl2pPr>
            <a:lvl3pPr marL="914400" indent="0">
              <a:lnSpc>
                <a:spcPct val="110000"/>
              </a:lnSpc>
              <a:buNone/>
              <a:defRPr sz="20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/>
            </a:br>
            <a:br>
              <a:rPr lang="sv-SE"/>
            </a:br>
            <a:br>
              <a:rPr lang="sv-SE"/>
            </a:br>
            <a:br>
              <a:rPr lang="sv-SE"/>
            </a:br>
            <a:r>
              <a:rPr lang="sv-SE"/>
              <a:t> </a:t>
            </a:r>
          </a:p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/>
              <a:t>    </a:t>
            </a:r>
            <a:br>
              <a:rPr lang="sv-SE"/>
            </a:br>
            <a:r>
              <a:rPr lang="sv-SE"/>
              <a:t>        Välj ikon och infoga </a:t>
            </a:r>
            <a:endParaRPr lang="en-US"/>
          </a:p>
          <a:p>
            <a:pPr lvl="2"/>
            <a:endParaRPr lang="en-US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88D03FBB-21E9-F008-E283-AC075F25E4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E2A05A5-1053-4521-A641-398E3840E3CC}" type="datetime1">
              <a:rPr lang="sv-SE" smtClean="0"/>
              <a:t>2025-04-28</a:t>
            </a:fld>
            <a:endParaRPr lang="sv-SE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F51FF841-B022-4350-1DDE-49C4EA075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04A3BADF-81F6-BE5B-EF7B-1C79884EB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5975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/>
              <a:t>Klicka här för att ändra rubrik</a:t>
            </a:r>
            <a:endParaRPr lang="en-US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Skriv text här</a:t>
            </a:r>
          </a:p>
          <a:p>
            <a:pPr lvl="1"/>
            <a:r>
              <a:rPr lang="sv-SE"/>
              <a:t>Nivå två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datum 4">
            <a:extLst>
              <a:ext uri="{FF2B5EF4-FFF2-40B4-BE49-F238E27FC236}">
                <a16:creationId xmlns:a16="http://schemas.microsoft.com/office/drawing/2014/main" id="{977FB61D-B955-2B9F-074D-81DF5416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1085021" cy="365125"/>
          </a:xfrm>
          <a:prstGeom prst="rect">
            <a:avLst/>
          </a:prstGeom>
        </p:spPr>
        <p:txBody>
          <a:bodyPr/>
          <a:lstStyle/>
          <a:p>
            <a:fld id="{3556A118-873A-4B52-9003-0908E6B2540D}" type="datetime1">
              <a:rPr lang="sv-SE" smtClean="0"/>
              <a:t>2025-04-28</a:t>
            </a:fld>
            <a:endParaRPr lang="sv-SE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8FC0B61D-7C97-F933-FE5D-D75EED9056F8}"/>
              </a:ext>
            </a:extLst>
          </p:cNvPr>
          <p:cNvSpPr txBox="1">
            <a:spLocks/>
          </p:cNvSpPr>
          <p:nvPr userDrawn="1"/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17976-8A7C-4CAB-BF0F-0DC203C803A3}" type="datetime1">
              <a:rPr lang="sv-SE" smtClean="0"/>
              <a:pPr/>
              <a:t>2025-04-28</a:t>
            </a:fld>
            <a:endParaRPr lang="sv-SE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225F7BBE-36A5-C806-7DFF-266F0BB893C6}"/>
              </a:ext>
            </a:extLst>
          </p:cNvPr>
          <p:cNvSpPr txBox="1">
            <a:spLocks/>
          </p:cNvSpPr>
          <p:nvPr userDrawn="1"/>
        </p:nvSpPr>
        <p:spPr>
          <a:xfrm>
            <a:off x="11226248" y="6513520"/>
            <a:ext cx="679180" cy="388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4730AA7-F777-4CAC-8CCC-AEA20B9348D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668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4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0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51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Klicka här för </a:t>
            </a:r>
            <a:r>
              <a:rPr lang="en-US" err="1"/>
              <a:t>att</a:t>
            </a:r>
            <a:r>
              <a:rPr lang="en-US"/>
              <a:t> </a:t>
            </a:r>
            <a:r>
              <a:rPr lang="en-US" err="1"/>
              <a:t>ändra</a:t>
            </a:r>
            <a:r>
              <a:rPr lang="en-US"/>
              <a:t> </a:t>
            </a:r>
            <a:r>
              <a:rPr lang="en-US" err="1"/>
              <a:t>rubrikformat</a:t>
            </a:r>
            <a:endParaRPr lang="en-US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01479"/>
            <a:ext cx="10972800" cy="49246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Klicka här för att ändra format på bakgrundstexten</a:t>
            </a:r>
          </a:p>
          <a:p>
            <a:pPr lvl="1"/>
            <a:r>
              <a:rPr lang="en-US"/>
              <a:t>Nivå två</a:t>
            </a:r>
          </a:p>
          <a:p>
            <a:pPr lvl="2"/>
            <a:r>
              <a:rPr lang="en-US" err="1"/>
              <a:t>Nivå</a:t>
            </a:r>
            <a:r>
              <a:rPr lang="en-US"/>
              <a:t> </a:t>
            </a:r>
            <a:r>
              <a:rPr lang="en-US" err="1"/>
              <a:t>tre</a:t>
            </a:r>
            <a:endParaRPr lang="en-US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9CA4B8-A0BB-4502-821F-7B06CCF7898B}" type="datetime1">
              <a:rPr lang="sv-SE" smtClean="0"/>
              <a:t>2025-04-28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8" y="6525320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5457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D341EC8-D59E-2394-5413-AB70A2CA75C4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1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93" r:id="rId3"/>
    <p:sldLayoutId id="2147483685" r:id="rId4"/>
    <p:sldLayoutId id="2147483676" r:id="rId5"/>
    <p:sldLayoutId id="2147483686" r:id="rId6"/>
    <p:sldLayoutId id="2147483671" r:id="rId7"/>
    <p:sldLayoutId id="2147483679" r:id="rId8"/>
    <p:sldLayoutId id="2147483688" r:id="rId9"/>
    <p:sldLayoutId id="2147483664" r:id="rId10"/>
    <p:sldLayoutId id="2147483689" r:id="rId11"/>
    <p:sldLayoutId id="2147483666" r:id="rId12"/>
    <p:sldLayoutId id="2147483663" r:id="rId13"/>
    <p:sldLayoutId id="2147483682" r:id="rId14"/>
    <p:sldLayoutId id="2147483687" r:id="rId15"/>
    <p:sldLayoutId id="2147483692" r:id="rId16"/>
    <p:sldLayoutId id="2147483690" r:id="rId17"/>
    <p:sldLayoutId id="2147483691" r:id="rId18"/>
    <p:sldLayoutId id="2147483665" r:id="rId19"/>
    <p:sldLayoutId id="2147483681" r:id="rId20"/>
    <p:sldLayoutId id="2147483680" r:id="rId21"/>
    <p:sldLayoutId id="2147483667" r:id="rId22"/>
    <p:sldLayoutId id="2147483670" r:id="rId23"/>
    <p:sldLayoutId id="2147483683" r:id="rId24"/>
    <p:sldLayoutId id="2147483684" r:id="rId25"/>
    <p:sldLayoutId id="2147483694" r:id="rId26"/>
    <p:sldLayoutId id="2147483695" r:id="rId27"/>
    <p:sldLayoutId id="2147483696" r:id="rId28"/>
    <p:sldLayoutId id="2147483697" r:id="rId29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>
          <p15:clr>
            <a:srgbClr val="F26B43"/>
          </p15:clr>
        </p15:guide>
        <p15:guide id="11" pos="7129">
          <p15:clr>
            <a:srgbClr val="F26B43"/>
          </p15:clr>
        </p15:guide>
        <p15:guide id="12" pos="3840">
          <p15:clr>
            <a:srgbClr val="F26B43"/>
          </p15:clr>
        </p15:guide>
        <p15:guide id="13" pos="551">
          <p15:clr>
            <a:srgbClr val="F26B43"/>
          </p15:clr>
        </p15:guide>
        <p15:guide id="14" orient="horz" pos="890">
          <p15:clr>
            <a:srgbClr val="F26B43"/>
          </p15:clr>
        </p15:guide>
        <p15:guide id="15" orient="horz" pos="343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429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3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>
          <p15:clr>
            <a:srgbClr val="F26B43"/>
          </p15:clr>
        </p15:guide>
        <p15:guide id="11" pos="7129">
          <p15:clr>
            <a:srgbClr val="F26B43"/>
          </p15:clr>
        </p15:guide>
        <p15:guide id="12" pos="3840">
          <p15:clr>
            <a:srgbClr val="F26B43"/>
          </p15:clr>
        </p15:guide>
        <p15:guide id="13" pos="551">
          <p15:clr>
            <a:srgbClr val="F26B43"/>
          </p15:clr>
        </p15:guide>
        <p15:guide id="14" orient="horz" pos="890">
          <p15:clr>
            <a:srgbClr val="F26B43"/>
          </p15:clr>
        </p15:guide>
        <p15:guide id="15" orient="horz" pos="343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Klicka här för att ändra mall för rubrikformat</a:t>
            </a:r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Klicka här för att ändra format på bakgrundstexten</a:t>
            </a:r>
          </a:p>
          <a:p>
            <a:pPr lvl="1"/>
            <a:r>
              <a:rPr lang="en-US"/>
              <a:t>Nivå två</a:t>
            </a:r>
          </a:p>
          <a:p>
            <a:pPr lvl="2"/>
            <a:r>
              <a:rPr lang="en-US"/>
              <a:t>Nivå tre</a:t>
            </a:r>
          </a:p>
          <a:p>
            <a:pPr lvl="3"/>
            <a:r>
              <a:rPr lang="en-US"/>
              <a:t>Nivå fyra</a:t>
            </a:r>
          </a:p>
          <a:p>
            <a:pPr lvl="4"/>
            <a:r>
              <a:rPr lang="en-US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5" y="6525322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E01E74-C129-49CC-A8E9-55F17C697E65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75777A-8889-41C5-9B21-1D01DDBB0F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69775" y="6525322"/>
            <a:ext cx="93676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9" y="6525322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3381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</p:sldLayoutIdLst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ritz.skane.se/sp?sys_kb_id=5066a4b024081ad0b3284115b1bc7abe&amp;id=kb_article_view&amp;sysparm_rank=1&amp;sysparm_tsqueryId=70797751608d529cb328953c033d4dbe" TargetMode="Externa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ritz.skane.se/sp?sys_kb_id=720a234424ec1ed4b3284115b1bc7ade&amp;id=kb_article_view&amp;sysparm_rank=2&amp;sysparm_tsqueryId=818afb99608d529cb328953c033d4de5" TargetMode="Externa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C8A39E-DC93-A3D0-82AF-1FE405425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949797"/>
            <a:ext cx="10363200" cy="2808092"/>
          </a:xfrm>
        </p:spPr>
        <p:txBody>
          <a:bodyPr/>
          <a:lstStyle/>
          <a:p>
            <a:br>
              <a:rPr lang="sv-SE"/>
            </a:br>
            <a:br>
              <a:rPr lang="sv-SE"/>
            </a:br>
            <a:r>
              <a:rPr lang="sv-SE"/>
              <a:t>Beställning/konfigurering IT utrustning SDV</a:t>
            </a:r>
            <a:br>
              <a:rPr lang="sv-SE"/>
            </a:br>
            <a:endParaRPr lang="sv-SE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979C0DF-CD99-0DB5-0CC8-8C71DBBDD1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81894" y="3375095"/>
            <a:ext cx="8534400" cy="798292"/>
          </a:xfrm>
        </p:spPr>
        <p:txBody>
          <a:bodyPr/>
          <a:lstStyle/>
          <a:p>
            <a:r>
              <a:rPr lang="sv-SE" sz="3600"/>
              <a:t>Privata vårdgivare</a:t>
            </a:r>
          </a:p>
          <a:p>
            <a:endParaRPr lang="sv-SE"/>
          </a:p>
          <a:p>
            <a:pPr algn="r"/>
            <a:r>
              <a:rPr lang="sv-SE" sz="2400"/>
              <a:t>SDV Utrullning IT/MT</a:t>
            </a:r>
          </a:p>
          <a:p>
            <a:pPr algn="r"/>
            <a:r>
              <a:rPr lang="sv-SE" sz="2400"/>
              <a:t>2024-10-02</a:t>
            </a:r>
          </a:p>
        </p:txBody>
      </p:sp>
      <p:pic>
        <p:nvPicPr>
          <p:cNvPr id="4" name="Bildobjekt 3" descr="Region Skånes logotyp - avsändarinformation ">
            <a:extLst>
              <a:ext uri="{FF2B5EF4-FFF2-40B4-BE49-F238E27FC236}">
                <a16:creationId xmlns:a16="http://schemas.microsoft.com/office/drawing/2014/main" id="{89EA138E-8602-7547-D632-B08E807144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65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C28D09E-0423-8FDF-1524-ADE92466C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600"/>
              <a:t>SDV Skrivarkö för administrativa avdelningar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7A3401A-CFEE-A6E9-D892-21D2C1777F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2800" cy="5502083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sv-SE" sz="2000"/>
              <a:t>För att era befintliga och nya skrivare ska fungera med SDV behöver dessa konfigureras/lägga till skrivarkö. </a:t>
            </a:r>
          </a:p>
          <a:p>
            <a:pPr marL="0" indent="0">
              <a:spcBef>
                <a:spcPts val="0"/>
              </a:spcBef>
              <a:buNone/>
            </a:pPr>
            <a:endParaRPr lang="sv-SE" sz="2400"/>
          </a:p>
          <a:p>
            <a:pPr marL="0" indent="0">
              <a:spcBef>
                <a:spcPts val="0"/>
              </a:spcBef>
              <a:buNone/>
            </a:pPr>
            <a:r>
              <a:rPr lang="sv-SE" sz="2000"/>
              <a:t>Ritz:</a:t>
            </a:r>
          </a:p>
          <a:p>
            <a:pPr marL="0" indent="0">
              <a:spcBef>
                <a:spcPts val="0"/>
              </a:spcBef>
              <a:buNone/>
            </a:pPr>
            <a:r>
              <a:rPr lang="sv-SE" sz="1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eställ SDV skrivarkö i Ritz, lägg upp skrivaren på en </a:t>
            </a:r>
            <a:r>
              <a:rPr lang="sv-SE" sz="1800" b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ysisk plats</a:t>
            </a:r>
            <a:r>
              <a:rPr lang="sv-SE" sz="1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nom samma </a:t>
            </a:r>
            <a:r>
              <a:rPr lang="sv-SE" sz="1800" b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rganisation</a:t>
            </a:r>
            <a:r>
              <a:rPr lang="sv-SE" sz="1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så nära som möjligt den aktuella platsen för skrivaren.</a:t>
            </a:r>
          </a:p>
          <a:p>
            <a:pPr marL="0" indent="0">
              <a:spcBef>
                <a:spcPts val="0"/>
              </a:spcBef>
              <a:buNone/>
            </a:pPr>
            <a:endParaRPr lang="sv-SE" sz="20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sv-SE" sz="1800" kern="100">
              <a:latin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endParaRPr lang="sv-SE" sz="12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b="1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Bakgrund </a:t>
            </a:r>
            <a:endParaRPr lang="sv-SE" sz="14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avsett vilken typ av skrivare det gäller så måste man ange en </a:t>
            </a:r>
            <a:r>
              <a:rPr lang="sv-SE" sz="1400" i="1" kern="10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cation</a:t>
            </a:r>
            <a:r>
              <a:rPr lang="sv-SE" sz="14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vid beställning i Ritz, dvs en plats där skrivaren står och det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väljer man ur en lista med valbara platser/</a:t>
            </a:r>
            <a:r>
              <a:rPr lang="sv-SE" sz="1400" i="1" kern="10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cations</a:t>
            </a:r>
            <a:r>
              <a:rPr lang="sv-SE" sz="14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med vårdutförande enheter som finns upplagda i Millenium/SDV i Ritz.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essa platser motsvarar en fysisk mottagning, avdelning, VC, etc.).</a:t>
            </a:r>
            <a:endParaRPr lang="sv-SE" sz="14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nns inte den aktuella platsen i listan så är det antagligen inte en vårdutförande enhet. Behöver man ändå skriva ut så gäller 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buNone/>
            </a:pPr>
            <a:r>
              <a:rPr lang="sv-SE" sz="1400" i="1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van lösning.</a:t>
            </a:r>
            <a:endParaRPr lang="sv-SE" sz="14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1080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37CD4F21-0AA1-7486-4829-61A2B19B5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4 skrivare</a:t>
            </a:r>
          </a:p>
        </p:txBody>
      </p:sp>
      <p:pic>
        <p:nvPicPr>
          <p:cNvPr id="6" name="Platshållare för innehåll 5">
            <a:extLst>
              <a:ext uri="{FF2B5EF4-FFF2-40B4-BE49-F238E27FC236}">
                <a16:creationId xmlns:a16="http://schemas.microsoft.com/office/drawing/2014/main" id="{8C99D824-8CFC-9110-B830-C0C9A60CE0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510490"/>
            <a:ext cx="9347207" cy="4636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8199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37CD4F21-0AA1-7486-4829-61A2B19B5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tikettskrivare</a:t>
            </a:r>
          </a:p>
        </p:txBody>
      </p:sp>
      <p:pic>
        <p:nvPicPr>
          <p:cNvPr id="2" name="Platshållare för innehåll 1">
            <a:extLst>
              <a:ext uri="{FF2B5EF4-FFF2-40B4-BE49-F238E27FC236}">
                <a16:creationId xmlns:a16="http://schemas.microsoft.com/office/drawing/2014/main" id="{D02C754E-29EB-C7E3-6846-5F033B256A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388438"/>
            <a:ext cx="6089978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95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37CD4F21-0AA1-7486-4829-61A2B19B5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rmbandsskrivare</a:t>
            </a:r>
          </a:p>
        </p:txBody>
      </p:sp>
      <p:pic>
        <p:nvPicPr>
          <p:cNvPr id="2" name="Platshållare för innehåll 1">
            <a:extLst>
              <a:ext uri="{FF2B5EF4-FFF2-40B4-BE49-F238E27FC236}">
                <a16:creationId xmlns:a16="http://schemas.microsoft.com/office/drawing/2014/main" id="{9E039B0A-2120-2267-D72F-0E46ED1D3F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465129"/>
            <a:ext cx="7063858" cy="484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371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37CD4F21-0AA1-7486-4829-61A2B19B5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vittoskrivare</a:t>
            </a:r>
          </a:p>
        </p:txBody>
      </p:sp>
      <p:pic>
        <p:nvPicPr>
          <p:cNvPr id="2" name="Platshållare för innehåll 1">
            <a:extLst>
              <a:ext uri="{FF2B5EF4-FFF2-40B4-BE49-F238E27FC236}">
                <a16:creationId xmlns:a16="http://schemas.microsoft.com/office/drawing/2014/main" id="{FDAB1AEA-D8DD-B6FC-C135-18CD929B40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552923"/>
            <a:ext cx="8588603" cy="4328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147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98FB90-92CA-A19C-73F6-9CD8120A8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/>
              <a:t>Etikettskrivare – streckkod för utskrift/välja skrivar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53F558-F524-8015-65CA-6FECE65AA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2800" cy="4988044"/>
          </a:xfrm>
        </p:spPr>
        <p:txBody>
          <a:bodyPr/>
          <a:lstStyle/>
          <a:p>
            <a:endParaRPr lang="sv-SE" sz="1600"/>
          </a:p>
          <a:p>
            <a:r>
              <a:rPr lang="sv-SE" sz="1600"/>
              <a:t>Etikettskrivare behöver en streckkod som skannas vid utskrift den placeras på etikettskrivaren</a:t>
            </a:r>
          </a:p>
          <a:p>
            <a:r>
              <a:rPr lang="sv-SE" sz="1600"/>
              <a:t>För provtagningsutskrifter används streckkoden till att välja rätt  skrivare i listan</a:t>
            </a:r>
          </a:p>
          <a:p>
            <a:r>
              <a:rPr lang="sv-SE" sz="1600"/>
              <a:t>För läkemedelsutskrifter används streckkoden till att välja rätt skrivare samt skriva ut</a:t>
            </a:r>
          </a:p>
          <a:p>
            <a:r>
              <a:rPr lang="sv-SE" sz="1600"/>
              <a:t>SDV etikettskrivare behöver kompletteras med etiketter</a:t>
            </a:r>
          </a:p>
          <a:p>
            <a:r>
              <a:rPr lang="sv-SE" sz="1600"/>
              <a:t>För att få en streckkod till er skrivare beställer/hämtar ni den via RITZ och erbjudandet ”Extra Streckkodsetiketter”</a:t>
            </a:r>
          </a:p>
          <a:p>
            <a:r>
              <a:rPr lang="sv-SE" sz="1600"/>
              <a:t>När ni skrivit ut etiketten placerar ni den på aktuell skrivare, se </a:t>
            </a:r>
            <a:r>
              <a:rPr lang="sv-SE" sz="1600">
                <a:hlinkClick r:id="rId2"/>
              </a:rPr>
              <a:t>KB0021073</a:t>
            </a:r>
            <a:r>
              <a:rPr lang="sv-SE" sz="1600"/>
              <a:t> i Ritz för hur den ska placeras på skrivaren</a:t>
            </a:r>
          </a:p>
          <a:p>
            <a:r>
              <a:rPr lang="sv-SE" sz="1600"/>
              <a:t>OBS! Gäller endast etikettskrivare (läkemedel och provtagning)</a:t>
            </a:r>
          </a:p>
          <a:p>
            <a:pPr marL="0" indent="0">
              <a:buNone/>
            </a:pPr>
            <a:endParaRPr lang="sv-SE" sz="1600" i="1">
              <a:solidFill>
                <a:srgbClr val="FF0000"/>
              </a:solidFill>
            </a:endParaRP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FB1F3F47-6A7E-F2C3-91D9-01046565D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934" y="1199119"/>
            <a:ext cx="1618736" cy="235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0152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B7AD6A3-F397-C8AE-D5B3-0C790E1A8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tikett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20652E3-9011-0A35-F23E-C7CCDFC724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75907"/>
            <a:ext cx="10972800" cy="4588052"/>
          </a:xfrm>
        </p:spPr>
        <p:txBody>
          <a:bodyPr/>
          <a:lstStyle/>
          <a:p>
            <a:pPr marL="0" indent="0">
              <a:buNone/>
            </a:pPr>
            <a:r>
              <a:rPr lang="sv-SE" sz="2000"/>
              <a:t>OBS! se till att rätt storlek på etiketter finns i era skrivare vid </a:t>
            </a:r>
            <a:r>
              <a:rPr lang="sv-SE" sz="2000" err="1"/>
              <a:t>driftstart</a:t>
            </a:r>
            <a:endParaRPr lang="sv-SE" sz="2000"/>
          </a:p>
          <a:p>
            <a:r>
              <a:rPr lang="sv-SE" sz="2000"/>
              <a:t>Etiketter finns i olika storlekar</a:t>
            </a:r>
          </a:p>
          <a:p>
            <a:r>
              <a:rPr lang="sv-SE" sz="2000"/>
              <a:t>Läkemedelsetiketter har storlek: 57 x 32 mm</a:t>
            </a:r>
          </a:p>
          <a:p>
            <a:r>
              <a:rPr lang="sv-SE" sz="2000"/>
              <a:t>Provtagningsetiketter har storlek: 52 x 28 mm</a:t>
            </a:r>
          </a:p>
          <a:p>
            <a:r>
              <a:rPr lang="sv-SE" sz="2000"/>
              <a:t>Generiska utskrifter fungerar på både läkemedels-  och provtagningsetiketter/skrivare.</a:t>
            </a:r>
          </a:p>
          <a:p>
            <a:r>
              <a:rPr lang="sv-SE" sz="2000"/>
              <a:t>Armband för patientarmbandsskrivare finns för vuxen, barn och neonatal</a:t>
            </a:r>
          </a:p>
          <a:p>
            <a:r>
              <a:rPr lang="sv-SE" sz="2000"/>
              <a:t>När man byter etikettrulle behöver skrivaren </a:t>
            </a:r>
            <a:r>
              <a:rPr lang="sv-SE" sz="2000" b="1"/>
              <a:t>kalibreras om</a:t>
            </a:r>
            <a:r>
              <a:rPr lang="sv-SE" sz="2000"/>
              <a:t>. Kalibreringen är viktig för att texten ska placeras korrekt på etikettutskrifterna</a:t>
            </a:r>
          </a:p>
          <a:p>
            <a:endParaRPr lang="sv-SE" sz="2000"/>
          </a:p>
        </p:txBody>
      </p:sp>
    </p:spTree>
    <p:extLst>
      <p:ext uri="{BB962C8B-B14F-4D97-AF65-F5344CB8AC3E}">
        <p14:creationId xmlns:p14="http://schemas.microsoft.com/office/powerpoint/2010/main" val="21358935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0F465DE-CF35-6854-CB64-5D7384FB6B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/>
              <a:t>Handskann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6D14F0C2-18FF-8F8F-3F8C-6A903A8706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/>
              <a:t>konfigurering</a:t>
            </a:r>
          </a:p>
        </p:txBody>
      </p:sp>
    </p:spTree>
    <p:extLst>
      <p:ext uri="{BB962C8B-B14F-4D97-AF65-F5344CB8AC3E}">
        <p14:creationId xmlns:p14="http://schemas.microsoft.com/office/powerpoint/2010/main" val="26657580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1F99F1-D346-8B6F-AB7D-24B273D172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Handskan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2B931FC-1394-B12D-233A-944D6FA0807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599" y="1297173"/>
            <a:ext cx="6860177" cy="4828992"/>
          </a:xfrm>
        </p:spPr>
        <p:txBody>
          <a:bodyPr/>
          <a:lstStyle/>
          <a:p>
            <a:r>
              <a:rPr lang="sv-SE" sz="2000"/>
              <a:t>För att er handskanner ska fungera  behöver den konfigureras för SDV</a:t>
            </a:r>
          </a:p>
          <a:p>
            <a:r>
              <a:rPr lang="sv-SE" sz="2000"/>
              <a:t>Det görs genom att med handskannern skanna 1-3 QR koder</a:t>
            </a:r>
          </a:p>
          <a:p>
            <a:r>
              <a:rPr lang="sv-SE" sz="2000"/>
              <a:t>Koder hämtas via </a:t>
            </a:r>
            <a:r>
              <a:rPr lang="sv-SE" sz="2000">
                <a:hlinkClick r:id="rId2"/>
              </a:rPr>
              <a:t>KB0020694</a:t>
            </a:r>
            <a:r>
              <a:rPr lang="sv-SE" sz="2000"/>
              <a:t>  i RITZ</a:t>
            </a:r>
          </a:p>
          <a:p>
            <a:r>
              <a:rPr lang="sv-SE" sz="2000"/>
              <a:t>Koder kan skrivs ut och skannas alt. skannas direkt på skärm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979A0226-FDBC-D8F3-C791-164BA9C533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2321" y="1297173"/>
            <a:ext cx="3762809" cy="383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5323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5D9D8AB-7C3A-957A-48CC-DFC6B1D44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l- och nätverksutta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6FB230E-A072-94BC-8D48-64C5486A06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800"/>
              <a:t>Tänk på att verifiera att ni har uttag för el samt nätverk för de utrustningarna som behöver det</a:t>
            </a:r>
          </a:p>
          <a:p>
            <a:r>
              <a:rPr lang="sv-SE" sz="2800"/>
              <a:t>Verifiera att dessa är aktiverade</a:t>
            </a:r>
          </a:p>
        </p:txBody>
      </p:sp>
    </p:spTree>
    <p:extLst>
      <p:ext uri="{BB962C8B-B14F-4D97-AF65-F5344CB8AC3E}">
        <p14:creationId xmlns:p14="http://schemas.microsoft.com/office/powerpoint/2010/main" val="2658271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ersionshistorik</a:t>
            </a:r>
            <a:endParaRPr lang="en-GB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3A4B29CF-2C10-41A8-85C8-3AF9F9AF5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2905458"/>
              </p:ext>
            </p:extLst>
          </p:nvPr>
        </p:nvGraphicFramePr>
        <p:xfrm>
          <a:off x="874713" y="1032733"/>
          <a:ext cx="10442574" cy="9601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96683">
                  <a:extLst>
                    <a:ext uri="{9D8B030D-6E8A-4147-A177-3AD203B41FA5}">
                      <a16:colId xmlns:a16="http://schemas.microsoft.com/office/drawing/2014/main" val="3116061276"/>
                    </a:ext>
                  </a:extLst>
                </a:gridCol>
                <a:gridCol w="5373550">
                  <a:extLst>
                    <a:ext uri="{9D8B030D-6E8A-4147-A177-3AD203B41FA5}">
                      <a16:colId xmlns:a16="http://schemas.microsoft.com/office/drawing/2014/main" val="1952430720"/>
                    </a:ext>
                  </a:extLst>
                </a:gridCol>
                <a:gridCol w="1885666">
                  <a:extLst>
                    <a:ext uri="{9D8B030D-6E8A-4147-A177-3AD203B41FA5}">
                      <a16:colId xmlns:a16="http://schemas.microsoft.com/office/drawing/2014/main" val="231712055"/>
                    </a:ext>
                  </a:extLst>
                </a:gridCol>
                <a:gridCol w="1986675">
                  <a:extLst>
                    <a:ext uri="{9D8B030D-6E8A-4147-A177-3AD203B41FA5}">
                      <a16:colId xmlns:a16="http://schemas.microsoft.com/office/drawing/2014/main" val="8908028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sv-SE" sz="1200"/>
                        <a:t>Version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Beskrivning av versionsuppdatering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Datum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Ansvarig</a:t>
                      </a:r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031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Sammanställning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v</a:t>
                      </a:r>
                      <a:r>
                        <a:rPr lang="en-GB" sz="900"/>
                        <a:t> information </a:t>
                      </a:r>
                      <a:r>
                        <a:rPr lang="en-GB" sz="900" err="1"/>
                        <a:t>angående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beställning</a:t>
                      </a:r>
                      <a:r>
                        <a:rPr lang="en-GB" sz="900"/>
                        <a:t>/</a:t>
                      </a:r>
                      <a:r>
                        <a:rPr lang="en-GB" sz="900" err="1"/>
                        <a:t>konfigurering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v</a:t>
                      </a:r>
                      <a:r>
                        <a:rPr lang="en-GB" sz="900"/>
                        <a:t> IT </a:t>
                      </a:r>
                      <a:r>
                        <a:rPr lang="en-GB" sz="900" err="1"/>
                        <a:t>utrustning</a:t>
                      </a:r>
                      <a:r>
                        <a:rPr lang="en-GB" sz="90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4-10-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8401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Uppdatering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v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skrivarköbeställning</a:t>
                      </a:r>
                      <a:r>
                        <a:rPr lang="en-GB" sz="900"/>
                        <a:t> för Admin </a:t>
                      </a:r>
                      <a:r>
                        <a:rPr lang="en-GB" sz="900" err="1"/>
                        <a:t>enheter</a:t>
                      </a:r>
                      <a:r>
                        <a:rPr lang="en-GB" sz="90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5-04-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Marcus Östr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943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6425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373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Region Skånes logotyp - avsändarinformation ">
            <a:extLst>
              <a:ext uri="{FF2B5EF4-FFF2-40B4-BE49-F238E27FC236}">
                <a16:creationId xmlns:a16="http://schemas.microsoft.com/office/drawing/2014/main" id="{F4A21B7D-52F0-ABF1-80A9-7A99E01177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35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09D9B04-5A8A-01FC-6CCB-0F2660DF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akgrund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F89FE90-D87F-7F0B-8A27-24EE6B433D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75907"/>
            <a:ext cx="10972801" cy="485025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sv-SE" sz="2000"/>
              <a:t>Inför </a:t>
            </a:r>
            <a:r>
              <a:rPr lang="sv-SE" sz="2000" err="1"/>
              <a:t>driftstart</a:t>
            </a:r>
            <a:r>
              <a:rPr lang="sv-SE" sz="2000"/>
              <a:t> behöver eventuellt IT utrustning beställas och för viss utrustning även konfiguration göras för att den ska fungera med SDV</a:t>
            </a:r>
          </a:p>
          <a:p>
            <a:pPr>
              <a:lnSpc>
                <a:spcPct val="150000"/>
              </a:lnSpc>
            </a:pPr>
            <a:r>
              <a:rPr lang="sv-SE" sz="2000"/>
              <a:t>Privata vårdgivare som inte är direkt anslutna till Region Skånes nät beställer själva sin utrustning från valfri leverantör</a:t>
            </a:r>
          </a:p>
          <a:p>
            <a:pPr>
              <a:lnSpc>
                <a:spcPct val="150000"/>
              </a:lnSpc>
            </a:pPr>
            <a:r>
              <a:rPr lang="sv-SE" sz="2000"/>
              <a:t>Privata vårdgivare på Region Skånes nätverk beställer enligt ordinarie rutiner IT/MT utrustning</a:t>
            </a:r>
          </a:p>
          <a:p>
            <a:pPr>
              <a:lnSpc>
                <a:spcPct val="150000"/>
              </a:lnSpc>
            </a:pPr>
            <a:r>
              <a:rPr lang="sv-SE" sz="2000"/>
              <a:t>Vid inköp se till att utrustning är SDV supporterad</a:t>
            </a:r>
          </a:p>
          <a:p>
            <a:pPr>
              <a:lnSpc>
                <a:spcPct val="150000"/>
              </a:lnSpc>
            </a:pPr>
            <a:r>
              <a:rPr lang="sv-SE" sz="2000"/>
              <a:t>Viss utrustning behöver konfigureras/skapa skrivarkö i Region Skånes system Ritz</a:t>
            </a:r>
          </a:p>
        </p:txBody>
      </p:sp>
    </p:spTree>
    <p:extLst>
      <p:ext uri="{BB962C8B-B14F-4D97-AF65-F5344CB8AC3E}">
        <p14:creationId xmlns:p14="http://schemas.microsoft.com/office/powerpoint/2010/main" val="2027271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8FF63-012B-630B-CA66-0AA945A0DF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C2137A-1AA4-4D4C-6290-047845C85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295996"/>
            <a:ext cx="10442575" cy="428625"/>
          </a:xfrm>
        </p:spPr>
        <p:txBody>
          <a:bodyPr/>
          <a:lstStyle/>
          <a:p>
            <a:r>
              <a:rPr lang="sv-SE" sz="3600" b="1"/>
              <a:t>SD-WAN</a:t>
            </a:r>
            <a:r>
              <a:rPr lang="sv-SE" sz="3600">
                <a:latin typeface="Public Sans" pitchFamily="2" charset="0"/>
              </a:rPr>
              <a:t> </a:t>
            </a:r>
            <a:r>
              <a:rPr lang="en-US" sz="1800">
                <a:latin typeface="Public Sans" pitchFamily="2" charset="0"/>
              </a:rPr>
              <a:t>(Software Defined Wide Area Network)</a:t>
            </a:r>
            <a:endParaRPr lang="sv-SE" sz="3600">
              <a:highlight>
                <a:srgbClr val="FFFF00"/>
              </a:highlight>
              <a:latin typeface="Public Sans" pitchFamily="2" charset="0"/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8B61D0A-BF0A-53E9-BA81-5DDF5DE44B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2" y="1357951"/>
            <a:ext cx="10442575" cy="4175169"/>
          </a:xfrm>
        </p:spPr>
        <p:txBody>
          <a:bodyPr lIns="91440" tIns="45720" rIns="91440" bIns="45720" anchor="t"/>
          <a:lstStyle/>
          <a:p>
            <a:pPr marL="342900" indent="-342900">
              <a:buFont typeface="Symbol" panose="05050102010706020507" pitchFamily="18" charset="2"/>
              <a:buChar char=""/>
            </a:pPr>
            <a:endParaRPr lang="sv-SE">
              <a:effectLst/>
              <a:latin typeface="Public Sans" pitchFamily="2" charset="0"/>
              <a:ea typeface="Times New Roman" panose="02020603050405020304" pitchFamily="18" charset="0"/>
              <a:cs typeface="Arial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sv-SE" sz="2000">
                <a:effectLst/>
                <a:latin typeface="Public Sans" pitchFamily="2" charset="0"/>
                <a:ea typeface="Times New Roman" panose="02020603050405020304" pitchFamily="18" charset="0"/>
                <a:cs typeface="Arial"/>
              </a:rPr>
              <a:t>SD-WAN är en </a:t>
            </a:r>
            <a:r>
              <a:rPr lang="sv-SE" sz="2000">
                <a:latin typeface="Public Sans" pitchFamily="2" charset="0"/>
                <a:ea typeface="Times New Roman" panose="02020603050405020304" pitchFamily="18" charset="0"/>
                <a:cs typeface="Arial"/>
              </a:rPr>
              <a:t>mjukvarubaserad nättjänst, inklusive en konfigurerad router som installeras centralt eller på varje enhet</a:t>
            </a:r>
            <a:br>
              <a:rPr lang="sv-SE" sz="2000">
                <a:latin typeface="Public Sans" pitchFamily="2" charset="0"/>
                <a:ea typeface="Times New Roman" panose="02020603050405020304" pitchFamily="18" charset="0"/>
                <a:cs typeface="Arial"/>
              </a:rPr>
            </a:br>
            <a:endParaRPr lang="sv-SE" sz="2000">
              <a:latin typeface="Public Sans" pitchFamily="2" charset="0"/>
              <a:ea typeface="Times New Roman" panose="02020603050405020304" pitchFamily="18" charset="0"/>
              <a:cs typeface="Arial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sv-SE" sz="2000">
                <a:latin typeface="Public Sans" pitchFamily="2" charset="0"/>
                <a:ea typeface="Times New Roman" panose="02020603050405020304" pitchFamily="18" charset="0"/>
                <a:cs typeface="Arial"/>
              </a:rPr>
              <a:t>SD-WAN är en </a:t>
            </a:r>
            <a:r>
              <a:rPr lang="sv-SE" sz="2000">
                <a:effectLst/>
                <a:latin typeface="Public Sans" pitchFamily="2" charset="0"/>
                <a:ea typeface="Times New Roman" panose="02020603050405020304" pitchFamily="18" charset="0"/>
                <a:cs typeface="Arial"/>
              </a:rPr>
              <a:t>förutsättning för full funktionalitet </a:t>
            </a:r>
            <a:r>
              <a:rPr lang="sv-SE" sz="2000">
                <a:latin typeface="Public Sans" pitchFamily="2" charset="0"/>
                <a:ea typeface="Times New Roman" panose="02020603050405020304" pitchFamily="18" charset="0"/>
                <a:cs typeface="Arial"/>
              </a:rPr>
              <a:t>i </a:t>
            </a:r>
            <a:r>
              <a:rPr lang="sv-SE" sz="2000">
                <a:effectLst/>
                <a:latin typeface="Public Sans" pitchFamily="2" charset="0"/>
                <a:ea typeface="Times New Roman" panose="02020603050405020304" pitchFamily="18" charset="0"/>
                <a:cs typeface="Arial"/>
              </a:rPr>
              <a:t>SDV </a:t>
            </a:r>
            <a:endParaRPr lang="sv-SE" sz="2000">
              <a:latin typeface="Public Sans" pitchFamily="2" charset="0"/>
              <a:ea typeface="Times New Roman" panose="02020603050405020304" pitchFamily="18" charset="0"/>
              <a:cs typeface="Arial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endParaRPr lang="sv-SE" sz="2000">
              <a:effectLst/>
              <a:latin typeface="Public Sans" pitchFamily="2" charset="0"/>
              <a:ea typeface="Times New Roman" panose="02020603050405020304" pitchFamily="18" charset="0"/>
              <a:cs typeface="Arial"/>
            </a:endParaRP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sv-SE" sz="2000">
                <a:effectLst/>
                <a:latin typeface="Public Sans" pitchFamily="2" charset="0"/>
                <a:ea typeface="Times New Roman" panose="02020603050405020304" pitchFamily="18" charset="0"/>
                <a:cs typeface="Arial"/>
              </a:rPr>
              <a:t>Tjänsten är avsedd för privata vårdgivare som behöver kommunicera med</a:t>
            </a:r>
            <a:r>
              <a:rPr lang="sv-SE" sz="2000">
                <a:latin typeface="Public Sans" pitchFamily="2" charset="0"/>
                <a:ea typeface="Times New Roman" panose="02020603050405020304" pitchFamily="18" charset="0"/>
                <a:cs typeface="Arial"/>
              </a:rPr>
              <a:t> </a:t>
            </a:r>
            <a:r>
              <a:rPr lang="sv-SE" sz="2000">
                <a:effectLst/>
                <a:latin typeface="Public Sans" pitchFamily="2" charset="0"/>
                <a:ea typeface="Times New Roman" panose="02020603050405020304" pitchFamily="18" charset="0"/>
                <a:cs typeface="Arial"/>
              </a:rPr>
              <a:t>Region Skånes </a:t>
            </a:r>
            <a:r>
              <a:rPr lang="sv-SE" sz="2000">
                <a:latin typeface="Public Sans" pitchFamily="2" charset="0"/>
                <a:ea typeface="Times New Roman" panose="02020603050405020304" pitchFamily="18" charset="0"/>
                <a:cs typeface="Arial"/>
              </a:rPr>
              <a:t>system</a:t>
            </a:r>
            <a:br>
              <a:rPr lang="sv-SE" sz="2000">
                <a:effectLst/>
                <a:latin typeface="Public Sans" pitchFamily="2" charset="0"/>
                <a:ea typeface="Times New Roman" panose="02020603050405020304" pitchFamily="18" charset="0"/>
              </a:rPr>
            </a:br>
            <a:endParaRPr lang="sv-SE" sz="2000">
              <a:effectLst/>
              <a:latin typeface="Public Sans" pitchFamily="2" charset="0"/>
              <a:ea typeface="Calibri" panose="020F0502020204030204" pitchFamily="34" charset="0"/>
              <a:cs typeface="Arial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sv-SE" sz="2000">
                <a:effectLst/>
                <a:latin typeface="Public Sans" pitchFamily="2" charset="0"/>
                <a:ea typeface="Times New Roman" panose="02020603050405020304" pitchFamily="18" charset="0"/>
                <a:cs typeface="Arial"/>
              </a:rPr>
              <a:t>Införandet pågår, projektet drivs av Region Skåne och Cygate</a:t>
            </a:r>
            <a:endParaRPr lang="sv-SE" sz="2000">
              <a:effectLst/>
              <a:latin typeface="Public Sans" pitchFamily="2" charset="0"/>
              <a:ea typeface="Calibri" panose="020F0502020204030204" pitchFamily="34" charset="0"/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br>
              <a:rPr lang="sv-SE"/>
            </a:br>
            <a:endParaRPr lang="sv-SE">
              <a:cs typeface="Arial"/>
            </a:endParaRPr>
          </a:p>
          <a:p>
            <a:pPr marL="0" indent="0">
              <a:buNone/>
            </a:pPr>
            <a:br>
              <a:rPr lang="sv-SE"/>
            </a:br>
            <a:endParaRPr lang="sv-SE" sz="1800"/>
          </a:p>
          <a:p>
            <a:pPr marL="0" indent="0">
              <a:buNone/>
            </a:pPr>
            <a:br>
              <a:rPr lang="sv-SE"/>
            </a:br>
            <a:endParaRPr lang="sv-SE"/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  <a:p>
            <a:pPr marL="251460" indent="-251460">
              <a:buFont typeface="Courier New" panose="02070309020205020404" pitchFamily="49" charset="0"/>
              <a:buChar char="o"/>
            </a:pPr>
            <a:endParaRPr lang="sv-S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6728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0F465DE-CF35-6854-CB64-5D7384FB6B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/>
              <a:t>Skrivare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6D14F0C2-18FF-8F8F-3F8C-6A903A8706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/>
              <a:t>Konfigurering/skrivarkö</a:t>
            </a:r>
          </a:p>
        </p:txBody>
      </p:sp>
    </p:spTree>
    <p:extLst>
      <p:ext uri="{BB962C8B-B14F-4D97-AF65-F5344CB8AC3E}">
        <p14:creationId xmlns:p14="http://schemas.microsoft.com/office/powerpoint/2010/main" val="5870130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FF2E79A-D234-8686-5545-22BC17BBA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896522"/>
          </a:xfr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sv-SE" sz="3600">
                <a:latin typeface="Public Sans" pitchFamily="2" charset="0"/>
              </a:rPr>
              <a:t>Skrivare - SDV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973D2A4-944F-6AF5-AB51-53D7F61893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17834"/>
            <a:ext cx="10972800" cy="452596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28600" indent="-228600">
              <a:lnSpc>
                <a:spcPct val="100000"/>
              </a:lnSpc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en-US" sz="2000">
                <a:latin typeface="Public Sans" pitchFamily="2" charset="0"/>
              </a:rPr>
              <a:t>För </a:t>
            </a:r>
            <a:r>
              <a:rPr lang="en-US" sz="2000" err="1">
                <a:latin typeface="Public Sans" pitchFamily="2" charset="0"/>
              </a:rPr>
              <a:t>att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skriva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ut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från</a:t>
            </a:r>
            <a:r>
              <a:rPr lang="en-US" sz="2000">
                <a:latin typeface="Public Sans" pitchFamily="2" charset="0"/>
              </a:rPr>
              <a:t> SDV </a:t>
            </a:r>
            <a:r>
              <a:rPr lang="en-US" sz="2000" err="1">
                <a:latin typeface="Public Sans" pitchFamily="2" charset="0"/>
              </a:rPr>
              <a:t>behövs</a:t>
            </a:r>
            <a:r>
              <a:rPr lang="en-US" sz="2000">
                <a:latin typeface="Public Sans" pitchFamily="2" charset="0"/>
              </a:rPr>
              <a:t> SD-WAN</a:t>
            </a:r>
            <a:endParaRPr lang="en-US" sz="2000">
              <a:latin typeface="Public Sans" pitchFamily="2" charset="0"/>
              <a:cs typeface="Arial"/>
            </a:endParaRPr>
          </a:p>
          <a:p>
            <a:pPr>
              <a:lnSpc>
                <a:spcPct val="100000"/>
              </a:lnSpc>
            </a:pPr>
            <a:r>
              <a:rPr lang="sv-SE" sz="2000">
                <a:latin typeface="Public Sans" pitchFamily="2" charset="0"/>
                <a:cs typeface="Arial"/>
              </a:rPr>
              <a:t>Endast supporterade nätverksanslutna skrivare kan användas med SDV, USB-anslutna skrivare stöds inte*</a:t>
            </a:r>
          </a:p>
          <a:p>
            <a:pPr>
              <a:lnSpc>
                <a:spcPct val="100000"/>
              </a:lnSpc>
            </a:pPr>
            <a:r>
              <a:rPr lang="en-US" sz="2000">
                <a:latin typeface="Public Sans" pitchFamily="2" charset="0"/>
              </a:rPr>
              <a:t>Har </a:t>
            </a:r>
            <a:r>
              <a:rPr lang="en-US" sz="2000" err="1">
                <a:latin typeface="Public Sans" pitchFamily="2" charset="0"/>
              </a:rPr>
              <a:t>ni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behov</a:t>
            </a:r>
            <a:r>
              <a:rPr lang="en-US" sz="2000">
                <a:latin typeface="Public Sans" pitchFamily="2" charset="0"/>
              </a:rPr>
              <a:t> av </a:t>
            </a:r>
            <a:r>
              <a:rPr lang="en-US" sz="2000" err="1">
                <a:latin typeface="Public Sans" pitchFamily="2" charset="0"/>
              </a:rPr>
              <a:t>att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en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skrivare</a:t>
            </a:r>
            <a:r>
              <a:rPr lang="en-US" sz="2000">
                <a:latin typeface="Public Sans" pitchFamily="2" charset="0"/>
              </a:rPr>
              <a:t> ska </a:t>
            </a:r>
            <a:r>
              <a:rPr lang="en-US" sz="2000" err="1">
                <a:latin typeface="Public Sans" pitchFamily="2" charset="0"/>
              </a:rPr>
              <a:t>fungera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både</a:t>
            </a:r>
            <a:r>
              <a:rPr lang="en-US" sz="2000">
                <a:latin typeface="Public Sans" pitchFamily="2" charset="0"/>
              </a:rPr>
              <a:t> med SDV och </a:t>
            </a:r>
            <a:r>
              <a:rPr lang="en-US" sz="2000" err="1">
                <a:latin typeface="Public Sans" pitchFamily="2" charset="0"/>
              </a:rPr>
              <a:t>andra</a:t>
            </a:r>
            <a:r>
              <a:rPr lang="en-US" sz="2000">
                <a:latin typeface="Public Sans" pitchFamily="2" charset="0"/>
              </a:rPr>
              <a:t> program </a:t>
            </a:r>
            <a:r>
              <a:rPr lang="en-US" sz="2000" err="1">
                <a:latin typeface="Public Sans" pitchFamily="2" charset="0"/>
              </a:rPr>
              <a:t>inom</a:t>
            </a:r>
            <a:r>
              <a:rPr lang="en-US" sz="2000">
                <a:latin typeface="Public Sans" pitchFamily="2" charset="0"/>
              </a:rPr>
              <a:t> er </a:t>
            </a:r>
            <a:r>
              <a:rPr lang="en-US" sz="2000" err="1">
                <a:latin typeface="Public Sans" pitchFamily="2" charset="0"/>
              </a:rPr>
              <a:t>verksamhet</a:t>
            </a:r>
            <a:r>
              <a:rPr lang="en-US" sz="2000">
                <a:latin typeface="Public Sans" pitchFamily="2" charset="0"/>
              </a:rPr>
              <a:t>? </a:t>
            </a:r>
            <a:r>
              <a:rPr lang="en-US" sz="2000" err="1">
                <a:latin typeface="Public Sans" pitchFamily="2" charset="0"/>
              </a:rPr>
              <a:t>Då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behöver</a:t>
            </a:r>
            <a:r>
              <a:rPr lang="en-US" sz="2000">
                <a:latin typeface="Public Sans" pitchFamily="2" charset="0"/>
              </a:rPr>
              <a:t> man ”</a:t>
            </a:r>
            <a:r>
              <a:rPr lang="en-US" sz="2000" err="1">
                <a:latin typeface="Public Sans" pitchFamily="2" charset="0"/>
              </a:rPr>
              <a:t>koppla</a:t>
            </a:r>
            <a:r>
              <a:rPr lang="en-US" sz="2000">
                <a:latin typeface="Public Sans" pitchFamily="2" charset="0"/>
              </a:rPr>
              <a:t>” </a:t>
            </a:r>
            <a:r>
              <a:rPr lang="en-US" sz="2000" err="1">
                <a:latin typeface="Public Sans" pitchFamily="2" charset="0"/>
              </a:rPr>
              <a:t>nätverket</a:t>
            </a:r>
            <a:r>
              <a:rPr lang="en-US" sz="2000">
                <a:latin typeface="Public Sans" pitchFamily="2" charset="0"/>
              </a:rPr>
              <a:t> för </a:t>
            </a:r>
            <a:r>
              <a:rPr lang="en-US" sz="2000" err="1">
                <a:latin typeface="Public Sans" pitchFamily="2" charset="0"/>
              </a:rPr>
              <a:t>skrivaren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mellan</a:t>
            </a:r>
            <a:r>
              <a:rPr lang="en-US" sz="2000">
                <a:latin typeface="Public Sans" pitchFamily="2" charset="0"/>
              </a:rPr>
              <a:t> SD-WAN och </a:t>
            </a:r>
            <a:r>
              <a:rPr lang="en-US" sz="2000" err="1">
                <a:latin typeface="Public Sans" pitchFamily="2" charset="0"/>
              </a:rPr>
              <a:t>ert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nätverk</a:t>
            </a:r>
            <a:r>
              <a:rPr lang="en-US" sz="2000">
                <a:latin typeface="Public Sans" pitchFamily="2" charset="0"/>
              </a:rPr>
              <a:t>, </a:t>
            </a:r>
            <a:r>
              <a:rPr lang="en-US" sz="2000" err="1">
                <a:latin typeface="Public Sans" pitchFamily="2" charset="0"/>
              </a:rPr>
              <a:t>genom</a:t>
            </a:r>
            <a:r>
              <a:rPr lang="en-US" sz="2000">
                <a:latin typeface="Public Sans" pitchFamily="2" charset="0"/>
              </a:rPr>
              <a:t> </a:t>
            </a:r>
            <a:r>
              <a:rPr lang="en-US" sz="2000" err="1">
                <a:latin typeface="Public Sans" pitchFamily="2" charset="0"/>
              </a:rPr>
              <a:t>s.k.</a:t>
            </a:r>
            <a:r>
              <a:rPr lang="en-US" sz="2000">
                <a:latin typeface="Public Sans" pitchFamily="2" charset="0"/>
              </a:rPr>
              <a:t> ”</a:t>
            </a:r>
            <a:r>
              <a:rPr lang="en-US" sz="2000" err="1">
                <a:latin typeface="Public Sans" pitchFamily="2" charset="0"/>
              </a:rPr>
              <a:t>NAT:a</a:t>
            </a:r>
            <a:r>
              <a:rPr lang="en-US" sz="2000">
                <a:latin typeface="Public Sans" pitchFamily="2" charset="0"/>
              </a:rPr>
              <a:t>” Network </a:t>
            </a:r>
            <a:r>
              <a:rPr lang="en-US" sz="2000" err="1">
                <a:latin typeface="Public Sans" pitchFamily="2" charset="0"/>
              </a:rPr>
              <a:t>Adress</a:t>
            </a:r>
            <a:r>
              <a:rPr lang="en-US" sz="2000">
                <a:latin typeface="Public Sans" pitchFamily="2" charset="0"/>
              </a:rPr>
              <a:t> Translation. </a:t>
            </a:r>
            <a:r>
              <a:rPr lang="en-US" sz="2000" err="1">
                <a:latin typeface="Public Sans" pitchFamily="2" charset="0"/>
              </a:rPr>
              <a:t>Görs</a:t>
            </a:r>
            <a:r>
              <a:rPr lang="en-US" sz="2000">
                <a:latin typeface="Public Sans" pitchFamily="2" charset="0"/>
              </a:rPr>
              <a:t> av person med </a:t>
            </a:r>
            <a:r>
              <a:rPr lang="en-US" sz="2000" err="1">
                <a:latin typeface="Public Sans" pitchFamily="2" charset="0"/>
              </a:rPr>
              <a:t>nätverkskompetens</a:t>
            </a:r>
            <a:r>
              <a:rPr lang="en-US" sz="2000">
                <a:latin typeface="Public Sans" pitchFamily="2" charset="0"/>
              </a:rPr>
              <a:t>, hos er</a:t>
            </a:r>
            <a:endParaRPr lang="en-US" sz="2000">
              <a:latin typeface="Public Sans" pitchFamily="2" charset="0"/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000">
              <a:latin typeface="Public Sans" pitchFamily="2" charset="0"/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2000">
              <a:latin typeface="Public Sans" pitchFamily="2" charset="0"/>
              <a:cs typeface="Arial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000">
                <a:latin typeface="Public Sans" pitchFamily="2" charset="0"/>
                <a:cs typeface="Arial"/>
              </a:rPr>
              <a:t>* För </a:t>
            </a:r>
            <a:r>
              <a:rPr lang="en-US" sz="2000" err="1">
                <a:latin typeface="Public Sans" pitchFamily="2" charset="0"/>
                <a:cs typeface="Arial"/>
              </a:rPr>
              <a:t>privata</a:t>
            </a:r>
            <a:r>
              <a:rPr lang="en-US" sz="2000">
                <a:latin typeface="Public Sans" pitchFamily="2" charset="0"/>
                <a:cs typeface="Arial"/>
              </a:rPr>
              <a:t> </a:t>
            </a:r>
            <a:r>
              <a:rPr lang="en-US" sz="2000" err="1">
                <a:latin typeface="Public Sans" pitchFamily="2" charset="0"/>
                <a:cs typeface="Arial"/>
              </a:rPr>
              <a:t>vårdgivare</a:t>
            </a:r>
            <a:r>
              <a:rPr lang="en-US" sz="2000">
                <a:latin typeface="Public Sans" pitchFamily="2" charset="0"/>
                <a:cs typeface="Arial"/>
              </a:rPr>
              <a:t> </a:t>
            </a:r>
            <a:r>
              <a:rPr lang="en-US" sz="2000" err="1">
                <a:latin typeface="Public Sans" pitchFamily="2" charset="0"/>
                <a:cs typeface="Arial"/>
              </a:rPr>
              <a:t>på</a:t>
            </a:r>
            <a:r>
              <a:rPr lang="en-US" sz="2000">
                <a:latin typeface="Public Sans" pitchFamily="2" charset="0"/>
                <a:cs typeface="Arial"/>
              </a:rPr>
              <a:t> Region Skånes </a:t>
            </a:r>
            <a:r>
              <a:rPr lang="en-US" sz="2000" err="1">
                <a:latin typeface="Public Sans" pitchFamily="2" charset="0"/>
                <a:cs typeface="Arial"/>
              </a:rPr>
              <a:t>nätverk</a:t>
            </a:r>
            <a:r>
              <a:rPr lang="en-US" sz="2000">
                <a:latin typeface="Public Sans" pitchFamily="2" charset="0"/>
                <a:cs typeface="Arial"/>
              </a:rPr>
              <a:t> (</a:t>
            </a:r>
            <a:r>
              <a:rPr lang="en-US" sz="2000" err="1">
                <a:latin typeface="Public Sans" pitchFamily="2" charset="0"/>
                <a:cs typeface="Arial"/>
              </a:rPr>
              <a:t>ej</a:t>
            </a:r>
            <a:r>
              <a:rPr lang="en-US" sz="2000">
                <a:latin typeface="Public Sans" pitchFamily="2" charset="0"/>
                <a:cs typeface="Arial"/>
              </a:rPr>
              <a:t> SD-WAN) </a:t>
            </a:r>
            <a:r>
              <a:rPr lang="en-US" sz="2000" err="1">
                <a:latin typeface="Public Sans" pitchFamily="2" charset="0"/>
                <a:cs typeface="Arial"/>
              </a:rPr>
              <a:t>kan</a:t>
            </a:r>
            <a:r>
              <a:rPr lang="en-US" sz="2000">
                <a:latin typeface="Public Sans" pitchFamily="2" charset="0"/>
                <a:cs typeface="Arial"/>
              </a:rPr>
              <a:t> </a:t>
            </a:r>
            <a:r>
              <a:rPr lang="en-US" sz="2000" err="1">
                <a:latin typeface="Public Sans" pitchFamily="2" charset="0"/>
                <a:cs typeface="Arial"/>
              </a:rPr>
              <a:t>undantag</a:t>
            </a:r>
            <a:r>
              <a:rPr lang="en-US" sz="2000">
                <a:latin typeface="Public Sans" pitchFamily="2" charset="0"/>
                <a:cs typeface="Arial"/>
              </a:rPr>
              <a:t> </a:t>
            </a:r>
            <a:r>
              <a:rPr lang="en-US" sz="2000" err="1">
                <a:latin typeface="Public Sans" pitchFamily="2" charset="0"/>
                <a:cs typeface="Arial"/>
              </a:rPr>
              <a:t>finnas</a:t>
            </a:r>
            <a:r>
              <a:rPr lang="en-US" sz="2000">
                <a:latin typeface="Public Sans" pitchFamily="2" charset="0"/>
                <a:cs typeface="Arial"/>
              </a:rPr>
              <a:t>.</a:t>
            </a:r>
          </a:p>
          <a:p>
            <a:pPr>
              <a:lnSpc>
                <a:spcPct val="100000"/>
              </a:lnSpc>
            </a:pPr>
            <a:endParaRPr lang="en-US" sz="1600">
              <a:cs typeface="Arial"/>
            </a:endParaRPr>
          </a:p>
          <a:p>
            <a:endParaRPr lang="en-US" sz="1600"/>
          </a:p>
          <a:p>
            <a:endParaRPr lang="en-US" sz="16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517537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0F465DE-CF35-6854-CB64-5D7384FB6B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/>
              <a:t>Ritz</a:t>
            </a:r>
            <a:br>
              <a:rPr lang="sv-SE"/>
            </a:br>
            <a:r>
              <a:rPr lang="sv-SE"/>
              <a:t>beställning av skrivarkö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6D14F0C2-18FF-8F8F-3F8C-6A903A8706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6232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C28D09E-0423-8FDF-1524-ADE92466C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600"/>
              <a:t>SDV Skrivarkö - Ritz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7A3401A-CFEE-A6E9-D892-21D2C1777F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sz="2400"/>
              <a:t>För att era skrivare ska fungera med SDV behöver skrivarkö beställas</a:t>
            </a:r>
          </a:p>
          <a:p>
            <a:r>
              <a:rPr lang="sv-SE" sz="2400"/>
              <a:t>Görs via Ritz</a:t>
            </a:r>
          </a:p>
          <a:p>
            <a:r>
              <a:rPr lang="sv-SE" sz="2400"/>
              <a:t>Skrivarkö beställs när skrivaren finns på plast på vårdenheten</a:t>
            </a:r>
          </a:p>
          <a:p>
            <a:r>
              <a:rPr lang="sv-SE" sz="2400"/>
              <a:t>Etikettskrivare, ange om den ska vara Läkemedel eller Provtagning</a:t>
            </a:r>
          </a:p>
          <a:p>
            <a:r>
              <a:rPr lang="sv-SE" sz="2400"/>
              <a:t>Armband, ange storlek, vuxen, barn eller nyfödd/neonatal</a:t>
            </a:r>
          </a:p>
          <a:p>
            <a:r>
              <a:rPr lang="sv-SE" sz="2400"/>
              <a:t>Dokumentskrivare, ange typ av utskrifter</a:t>
            </a:r>
          </a:p>
          <a:p>
            <a:r>
              <a:rPr lang="sv-SE" sz="2400" b="1" i="1"/>
              <a:t>OBS! Gäller ej Pull-print skrivare, behöver ej beställa skrivarkö till dessa</a:t>
            </a:r>
          </a:p>
        </p:txBody>
      </p:sp>
    </p:spTree>
    <p:extLst>
      <p:ext uri="{BB962C8B-B14F-4D97-AF65-F5344CB8AC3E}">
        <p14:creationId xmlns:p14="http://schemas.microsoft.com/office/powerpoint/2010/main" val="38548689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FF2E79A-D234-8686-5545-22BC17BBA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600">
                <a:latin typeface="Public Sans" pitchFamily="2" charset="0"/>
                <a:cs typeface="Arial"/>
              </a:rPr>
              <a:t>Beställning skrivarkö - RITZ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C813FAC-964A-E5EC-8C4B-33B5674FCE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sv-SE" sz="2400">
                <a:latin typeface="Public Sans" pitchFamily="2" charset="0"/>
                <a:cs typeface="Arial"/>
              </a:rPr>
              <a:t>Inventera och säkerställ att era skrivare är SDV supporterade</a:t>
            </a:r>
          </a:p>
          <a:p>
            <a:pPr marL="514350" indent="-514350">
              <a:buFont typeface="+mj-lt"/>
              <a:buAutoNum type="arabicPeriod"/>
            </a:pPr>
            <a:r>
              <a:rPr lang="sv-SE" sz="2400">
                <a:latin typeface="Public Sans" pitchFamily="2" charset="0"/>
                <a:cs typeface="Arial"/>
              </a:rPr>
              <a:t>Beställ skrivarkö/konfigurering i RITZ</a:t>
            </a:r>
          </a:p>
          <a:p>
            <a:pPr marL="514350" indent="-514350">
              <a:buFont typeface="+mj-lt"/>
              <a:buAutoNum type="arabicPeriod"/>
            </a:pPr>
            <a:r>
              <a:rPr lang="sv-SE" sz="2400">
                <a:latin typeface="Public Sans" pitchFamily="2" charset="0"/>
                <a:cs typeface="Arial"/>
              </a:rPr>
              <a:t>Ange var skrivaren ska stå (Millenium </a:t>
            </a:r>
            <a:r>
              <a:rPr lang="sv-SE" sz="2400" err="1">
                <a:latin typeface="Public Sans" pitchFamily="2" charset="0"/>
                <a:cs typeface="Arial"/>
              </a:rPr>
              <a:t>location</a:t>
            </a:r>
            <a:r>
              <a:rPr lang="sv-SE" sz="2400">
                <a:latin typeface="Public Sans" pitchFamily="2" charset="0"/>
                <a:cs typeface="Arial"/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sv-SE" sz="2400">
                <a:latin typeface="Public Sans" pitchFamily="2" charset="0"/>
                <a:cs typeface="Arial"/>
              </a:rPr>
              <a:t>Ange skrivarmodell (endast supporterade skrivare visas)</a:t>
            </a:r>
          </a:p>
          <a:p>
            <a:pPr marL="514350" indent="-514350">
              <a:buFont typeface="+mj-lt"/>
              <a:buAutoNum type="arabicPeriod"/>
            </a:pPr>
            <a:r>
              <a:rPr lang="sv-SE" sz="2400">
                <a:latin typeface="Public Sans" pitchFamily="2" charset="0"/>
                <a:cs typeface="Arial"/>
              </a:rPr>
              <a:t>Ange skrivarens SD-WAN IP adress</a:t>
            </a:r>
          </a:p>
          <a:p>
            <a:pPr marL="0" indent="0">
              <a:buNone/>
            </a:pPr>
            <a:endParaRPr lang="sv-SE" sz="2800">
              <a:cs typeface="Arial"/>
            </a:endParaRPr>
          </a:p>
          <a:p>
            <a:pPr marL="0" indent="0">
              <a:buNone/>
            </a:pPr>
            <a:endParaRPr lang="sv-SE" sz="28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9643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Region Skåne presentation">
  <a:themeElements>
    <a:clrScheme name="Anpassat 1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Anpassat 1">
      <a:majorFont>
        <a:latin typeface="Public Sans"/>
        <a:ea typeface=""/>
        <a:cs typeface=""/>
      </a:majorFont>
      <a:minorFont>
        <a:latin typeface="Public Sans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ion Skånes prestentationsmall" id="{6234B990-46E4-4798-A7C9-795EC348AB7D}" vid="{E536645E-1CDF-4149-833A-B078DB4F4622}"/>
    </a:ext>
  </a:extLst>
</a:theme>
</file>

<file path=ppt/theme/theme2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mall_2019-09-26" id="{3A03CCF2-DF1C-4F02-BC09-9569C4ACC067}" vid="{3FDD56E4-7906-44A3-A810-9FD7C478F6A4}"/>
    </a:ext>
  </a:extLst>
</a:theme>
</file>

<file path=ppt/theme/theme3.xml><?xml version="1.0" encoding="utf-8"?>
<a:theme xmlns:a="http://schemas.openxmlformats.org/drawingml/2006/main" name="1_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mall_2019-09-26" id="{BDC4FBFB-0BBF-4917-82BC-C4A46CE0032C}" vid="{202A11A9-F406-464A-BA70-899ED0EFB3D7}"/>
    </a:ext>
  </a:extLst>
</a:theme>
</file>

<file path=ppt/theme/theme4.xml><?xml version="1.0" encoding="utf-8"?>
<a:theme xmlns:a="http://schemas.openxmlformats.org/drawingml/2006/main" name="Region Skåne">
  <a:themeElements>
    <a:clrScheme name="Region Skåne Strand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Region Skåne">
      <a:majorFont>
        <a:latin typeface="Arial" panose="020B0604020202020204"/>
        <a:ea typeface=""/>
        <a:cs typeface=""/>
      </a:majorFont>
      <a:minorFont>
        <a:latin typeface="Arial" panose="020B0604020202020204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small" id="{6675D7FB-A762-4CDE-BF7B-64152D800FD0}" vid="{E26FCD0C-0120-43CA-8683-B32B54589D85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SharedWithUsers xmlns="2e68ab6b-79c8-43ea-b178-dccb9842d64a">
      <UserInfo>
        <DisplayName/>
        <AccountId xsi:nil="true"/>
        <AccountType/>
      </UserInfo>
    </SharedWithUsers>
    <Dokument_x00e4_gare xmlns="b9481cc7-f7fc-4d3a-a93a-4be4fcbf4595">Peter Karlsson</Dokument_x00e4_gare>
  </documentManagement>
</p:properties>
</file>

<file path=customXml/itemProps1.xml><?xml version="1.0" encoding="utf-8"?>
<ds:datastoreItem xmlns:ds="http://schemas.openxmlformats.org/officeDocument/2006/customXml" ds:itemID="{4549096E-EE05-4383-97AB-53D7C3DB0A8E}">
  <ds:schemaRefs>
    <ds:schemaRef ds:uri="2e68ab6b-79c8-43ea-b178-dccb9842d64a"/>
    <ds:schemaRef ds:uri="b9481cc7-f7fc-4d3a-a93a-4be4fcbf45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5BBC569-1AD9-4C14-8729-8BE5764940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7537FCB-13C2-4296-B34E-51EC45E83D7D}">
  <ds:schemaRefs>
    <ds:schemaRef ds:uri="2e68ab6b-79c8-43ea-b178-dccb9842d64a"/>
    <ds:schemaRef ds:uri="b9481cc7-f7fc-4d3a-a93a-4be4fcbf459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gion Skånes prestentationsmall</Template>
  <TotalTime>0</TotalTime>
  <Application>Microsoft Office PowerPoint</Application>
  <PresentationFormat>Widescreen</PresentationFormat>
  <Slides>20</Slides>
  <Notes>4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Region Skåne presentation</vt:lpstr>
      <vt:lpstr>Tema1</vt:lpstr>
      <vt:lpstr>1_Tema1</vt:lpstr>
      <vt:lpstr>Region Skåne</vt:lpstr>
      <vt:lpstr>  Beställning/konfigurering IT utrustning SDV </vt:lpstr>
      <vt:lpstr>Versionshistorik</vt:lpstr>
      <vt:lpstr>Bakgrund</vt:lpstr>
      <vt:lpstr>SD-WAN (Software Defined Wide Area Network)</vt:lpstr>
      <vt:lpstr>Skrivare</vt:lpstr>
      <vt:lpstr>Skrivare - SDV</vt:lpstr>
      <vt:lpstr>Ritz beställning av skrivarkö</vt:lpstr>
      <vt:lpstr>SDV Skrivarkö - Ritz</vt:lpstr>
      <vt:lpstr>Beställning skrivarkö - RITZ</vt:lpstr>
      <vt:lpstr>SDV Skrivarkö för administrativa avdelningar</vt:lpstr>
      <vt:lpstr>A4 skrivare</vt:lpstr>
      <vt:lpstr>Etikettskrivare</vt:lpstr>
      <vt:lpstr>Armbandsskrivare</vt:lpstr>
      <vt:lpstr>Kvittoskrivare</vt:lpstr>
      <vt:lpstr>Etikettskrivare – streckkod för utskrift/välja skrivare</vt:lpstr>
      <vt:lpstr>Etiketter</vt:lpstr>
      <vt:lpstr>Handskanner</vt:lpstr>
      <vt:lpstr>Handskanner</vt:lpstr>
      <vt:lpstr>El- och nätverksutta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älla IT produkter </dc:title>
  <dc:creator>Malmborg Simon</dc:creator>
  <cp:revision>2</cp:revision>
  <dcterms:created xsi:type="dcterms:W3CDTF">2024-06-17T08:06:26Z</dcterms:created>
  <dcterms:modified xsi:type="dcterms:W3CDTF">2025-04-28T11:0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D0126CF-E299-4EA6-B5B5-949059109E94</vt:lpwstr>
  </property>
  <property fmtid="{D5CDD505-2E9C-101B-9397-08002B2CF9AE}" pid="3" name="ArticulatePath">
    <vt:lpwstr>Presentation5</vt:lpwstr>
  </property>
  <property fmtid="{D5CDD505-2E9C-101B-9397-08002B2CF9AE}" pid="4" name="ContentTypeId">
    <vt:lpwstr>0x010100E31EBBC7768F1E4A9E0C4E1A60879018</vt:lpwstr>
  </property>
  <property fmtid="{D5CDD505-2E9C-101B-9397-08002B2CF9AE}" pid="5" name="xd_ProgID">
    <vt:lpwstr/>
  </property>
  <property fmtid="{D5CDD505-2E9C-101B-9397-08002B2CF9AE}" pid="6" name="MediaServiceImageTags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bool>false</vt:bool>
  </property>
  <property fmtid="{D5CDD505-2E9C-101B-9397-08002B2CF9AE}" pid="12" name="test">
    <vt:lpwstr>Peter Karlsson</vt:lpwstr>
  </property>
</Properties>
</file>